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8.xml" ContentType="application/vnd.openxmlformats-officedocument.theme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4097" r:id="rId1"/>
    <p:sldMasterId id="2147484098" r:id="rId2"/>
    <p:sldMasterId id="2147484099" r:id="rId3"/>
    <p:sldMasterId id="2147484100" r:id="rId4"/>
    <p:sldMasterId id="2147484101" r:id="rId5"/>
    <p:sldMasterId id="2147484102" r:id="rId6"/>
    <p:sldMasterId id="2147484103" r:id="rId7"/>
    <p:sldMasterId id="2147484105" r:id="rId8"/>
    <p:sldMasterId id="2147484106" r:id="rId9"/>
  </p:sldMasterIdLst>
  <p:notesMasterIdLst>
    <p:notesMasterId r:id="rId15"/>
  </p:notesMasterIdLst>
  <p:handoutMasterIdLst>
    <p:handoutMasterId r:id="rId16"/>
  </p:handoutMasterIdLst>
  <p:sldIdLst>
    <p:sldId id="256" r:id="rId10"/>
    <p:sldId id="296" r:id="rId11"/>
    <p:sldId id="294" r:id="rId12"/>
    <p:sldId id="295" r:id="rId13"/>
    <p:sldId id="297" r:id="rId1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96762D4-1208-40BD-9F6F-89907E02A741}">
          <p14:sldIdLst>
            <p14:sldId id="256"/>
            <p14:sldId id="296"/>
            <p14:sldId id="294"/>
            <p14:sldId id="295"/>
            <p14:sldId id="297"/>
          </p14:sldIdLst>
        </p14:section>
      </p14:sectionLst>
    </p:ext>
    <p:ext uri="{EFAFB233-063F-42B5-8137-9DF3F51BA10A}">
      <p15:sldGuideLst xmlns="" xmlns:p15="http://schemas.microsoft.com/office/powerpoint/2012/main">
        <p15:guide id="0" orient="horz" pos="719" userDrawn="1">
          <p15:clr>
            <a:srgbClr val="A4A3A4"/>
          </p15:clr>
        </p15:guide>
        <p15:guide id="1" pos="287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439639"/>
    <a:srgbClr val="DAFFC5"/>
    <a:srgbClr val="9FE06A"/>
    <a:srgbClr val="FFFF66"/>
    <a:srgbClr val="FFFF99"/>
    <a:srgbClr val="72CDF4"/>
    <a:srgbClr val="1B6CB5"/>
    <a:srgbClr val="0075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441" autoAdjust="0"/>
    <p:restoredTop sz="83887" autoAdjust="0"/>
  </p:normalViewPr>
  <p:slideViewPr>
    <p:cSldViewPr snapToObjects="1">
      <p:cViewPr>
        <p:scale>
          <a:sx n="70" d="100"/>
          <a:sy n="70" d="100"/>
        </p:scale>
        <p:origin x="-1910" y="-480"/>
      </p:cViewPr>
      <p:guideLst>
        <p:guide orient="horz" pos="719"/>
        <p:guide pos="28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70" d="100"/>
          <a:sy n="70" d="100"/>
        </p:scale>
        <p:origin x="-3366" y="-468"/>
      </p:cViewPr>
      <p:guideLst>
        <p:guide orient="horz" pos="719"/>
        <p:guide pos="287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44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r">
              <a:defRPr sz="1200"/>
            </a:lvl1pPr>
          </a:lstStyle>
          <a:p>
            <a:fld id="{23F4B1D6-A14A-49F3-89E4-646CEBC8D853}" type="datetimeFigureOut">
              <a:rPr lang="en-US" smtClean="0"/>
              <a:pPr/>
              <a:t>05/16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44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r">
              <a:defRPr sz="1200"/>
            </a:lvl1pPr>
          </a:lstStyle>
          <a:p>
            <a:fld id="{7268B0F9-4B29-49D0-94BF-1057169437C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99682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4" y="2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/>
          <a:lstStyle>
            <a:lvl1pPr algn="r">
              <a:defRPr sz="1200"/>
            </a:lvl1pPr>
          </a:lstStyle>
          <a:p>
            <a:fld id="{3A38AFA1-D132-442E-B1AC-DD849B4F33A0}" type="datetimeFigureOut">
              <a:rPr lang="en-US" smtClean="0"/>
              <a:pPr/>
              <a:t>05/16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69056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985" tIns="44994" rIns="89985" bIns="4499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2"/>
            <a:ext cx="5608320" cy="4183384"/>
          </a:xfrm>
          <a:prstGeom prst="rect">
            <a:avLst/>
          </a:prstGeom>
        </p:spPr>
        <p:txBody>
          <a:bodyPr vert="horz" lIns="89985" tIns="44994" rIns="89985" bIns="4499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4" y="8829971"/>
            <a:ext cx="3037840" cy="464824"/>
          </a:xfrm>
          <a:prstGeom prst="rect">
            <a:avLst/>
          </a:prstGeom>
        </p:spPr>
        <p:txBody>
          <a:bodyPr vert="horz" lIns="89985" tIns="44994" rIns="89985" bIns="44994" rtlCol="0" anchor="b"/>
          <a:lstStyle>
            <a:lvl1pPr algn="r">
              <a:defRPr sz="1200"/>
            </a:lvl1pPr>
          </a:lstStyle>
          <a:p>
            <a:fld id="{0063833F-694C-4799-B24A-5D2F9A3FCED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545663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3833F-694C-4799-B24A-5D2F9A3FCED9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948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image" Target="../media/image6.png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6.vml"/><Relationship Id="rId6" Type="http://schemas.openxmlformats.org/officeDocument/2006/relationships/tags" Target="../tags/tag90.xml"/><Relationship Id="rId11" Type="http://schemas.openxmlformats.org/officeDocument/2006/relationships/image" Target="../media/image4.emf"/><Relationship Id="rId5" Type="http://schemas.openxmlformats.org/officeDocument/2006/relationships/tags" Target="../tags/tag8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88.xml"/><Relationship Id="rId9" Type="http://schemas.openxmlformats.org/officeDocument/2006/relationships/slideMaster" Target="../slideMasters/slideMaster4.xml"/><Relationship Id="rId14" Type="http://schemas.openxmlformats.org/officeDocument/2006/relationships/image" Target="../media/image7.jpe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image" Target="../media/image6.png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5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1.xml"/><Relationship Id="rId11" Type="http://schemas.openxmlformats.org/officeDocument/2006/relationships/image" Target="../media/image4.emf"/><Relationship Id="rId5" Type="http://schemas.openxmlformats.org/officeDocument/2006/relationships/tags" Target="../tags/tag120.xml"/><Relationship Id="rId10" Type="http://schemas.openxmlformats.org/officeDocument/2006/relationships/oleObject" Target="../embeddings/oleObject8.bin"/><Relationship Id="rId4" Type="http://schemas.openxmlformats.org/officeDocument/2006/relationships/tags" Target="../tags/tag119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6.png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image" Target="../media/image5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52.xml"/><Relationship Id="rId11" Type="http://schemas.openxmlformats.org/officeDocument/2006/relationships/image" Target="../media/image4.emf"/><Relationship Id="rId5" Type="http://schemas.openxmlformats.org/officeDocument/2006/relationships/tags" Target="../tags/tag15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50.xml"/><Relationship Id="rId9" Type="http://schemas.openxmlformats.org/officeDocument/2006/relationships/slideMaster" Target="../slideMasters/slideMaster6.xml"/><Relationship Id="rId14" Type="http://schemas.openxmlformats.org/officeDocument/2006/relationships/image" Target="../media/image7.jpe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6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.vml"/><Relationship Id="rId6" Type="http://schemas.openxmlformats.org/officeDocument/2006/relationships/tags" Target="../tags/tag28.xml"/><Relationship Id="rId11" Type="http://schemas.openxmlformats.org/officeDocument/2006/relationships/image" Target="../media/image4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7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7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emf"/><Relationship Id="rId3" Type="http://schemas.openxmlformats.org/officeDocument/2006/relationships/image" Target="../media/image16.jpeg"/><Relationship Id="rId7" Type="http://schemas.openxmlformats.org/officeDocument/2006/relationships/image" Target="../media/image20.jpg"/><Relationship Id="rId12" Type="http://schemas.openxmlformats.org/officeDocument/2006/relationships/image" Target="../media/image2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image" Target="../media/image6.png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4.vml"/><Relationship Id="rId6" Type="http://schemas.openxmlformats.org/officeDocument/2006/relationships/tags" Target="../tags/tag59.xml"/><Relationship Id="rId11" Type="http://schemas.openxmlformats.org/officeDocument/2006/relationships/image" Target="../media/image4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4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7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914400"/>
            <a:ext cx="7772400" cy="457200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6400" y="1371600"/>
            <a:ext cx="6400800" cy="3048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7167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04800" y="5867400"/>
            <a:ext cx="5562600" cy="30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  <a:p>
            <a:pPr lvl="0"/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304800" y="6096000"/>
            <a:ext cx="3581400" cy="3048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MM.DD.YY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1" y="2883778"/>
            <a:ext cx="4422118" cy="138342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748528"/>
            <a:ext cx="1758536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049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3111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9183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9707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605536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7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8324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983756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8675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7605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93420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627207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360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8902676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720528" cy="914400"/>
          </a:xfrm>
        </p:spPr>
        <p:txBody>
          <a:bodyPr bIns="0" anchor="ctr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95204"/>
            <a:ext cx="8720528" cy="367456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0285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6649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6332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97750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0461520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0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229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7627298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4653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858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893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title23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94687"/>
            <a:ext cx="8229600" cy="911225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171606"/>
            <a:ext cx="8229600" cy="917088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39114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title5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88888"/>
            <a:ext cx="7716322" cy="1177779"/>
          </a:xfrm>
        </p:spPr>
        <p:txBody>
          <a:bodyPr/>
          <a:lstStyle>
            <a:lvl1pPr algn="r">
              <a:defRPr sz="3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855474"/>
            <a:ext cx="6801922" cy="968296"/>
          </a:xfrm>
        </p:spPr>
        <p:txBody>
          <a:bodyPr/>
          <a:lstStyle>
            <a:lvl1pPr marL="0" indent="0" algn="r">
              <a:buNone/>
              <a:defRPr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626640" y="2332590"/>
            <a:ext cx="1480622" cy="304800"/>
          </a:xfrm>
        </p:spPr>
        <p:txBody>
          <a:bodyPr>
            <a:norm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en-US" dirty="0" smtClean="0"/>
              <a:t>MM.DD.Y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0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890292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2331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926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TEMPx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17500" y="6292850"/>
            <a:ext cx="388938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eaLnBrk="1" hangingPunct="1"/>
            <a:fld id="{5DD1D426-DF4D-4AB9-B0BF-0A0469D4CB56}" type="slidenum">
              <a:rPr lang="en-US" sz="900">
                <a:solidFill>
                  <a:srgbClr val="666666"/>
                </a:solidFill>
                <a:cs typeface="Arial" charset="0"/>
              </a:rPr>
              <a:pPr algn="ctr" eaLnBrk="1" hangingPunct="1"/>
              <a:t>‹#›</a:t>
            </a:fld>
            <a:endParaRPr lang="en-US" sz="9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6438" y="6292850"/>
            <a:ext cx="5972175" cy="23018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/>
            <a:r>
              <a:rPr lang="en-US" sz="900" dirty="0">
                <a:solidFill>
                  <a:srgbClr val="666666"/>
                </a:solidFill>
                <a:cs typeface="Arial" charset="0"/>
              </a:rPr>
              <a:t>INSERT NAME OF PRESENTATION HERE</a:t>
            </a:r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3343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429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0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FINANCIAL DATA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46063"/>
            <a:ext cx="8229600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6126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TEMPc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36600"/>
          </a:xfrm>
        </p:spPr>
        <p:txBody>
          <a:bodyPr/>
          <a:lstStyle>
            <a:lvl1pPr>
              <a:defRPr>
                <a:solidFill>
                  <a:srgbClr val="66666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106488"/>
            <a:ext cx="8229600" cy="47926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347730" y="6349285"/>
            <a:ext cx="605307" cy="36060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7222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8510408" y="6372225"/>
            <a:ext cx="3270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fld id="{7E241D3F-BF8C-F649-A940-FE4235426C5E}" type="slidenum">
              <a:rPr lang="en-US" sz="900">
                <a:solidFill>
                  <a:srgbClr val="666666"/>
                </a:solidFill>
                <a:ea typeface="Arial" charset="0"/>
                <a:cs typeface="Arial" charset="0"/>
              </a:rPr>
              <a:pPr algn="ctr"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5937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973138"/>
            <a:ext cx="8229600" cy="48974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310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6059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y Background for photo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66416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229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Energy For 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3489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6019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Box 2"/>
          <p:cNvSpPr txBox="1">
            <a:spLocks noChangeArrowheads="1"/>
          </p:cNvSpPr>
          <p:nvPr userDrawn="1"/>
        </p:nvSpPr>
        <p:spPr bwMode="auto">
          <a:xfrm>
            <a:off x="23813" y="3070225"/>
            <a:ext cx="9144000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charset="-128"/>
              </a:defRPr>
            </a:lvl9pPr>
          </a:lstStyle>
          <a:p>
            <a:pPr algn="ctr" eaLnBrk="1" hangingPunct="1">
              <a:spcBef>
                <a:spcPts val="713"/>
              </a:spcBef>
              <a:spcAft>
                <a:spcPts val="500"/>
              </a:spcAft>
              <a:defRPr/>
            </a:pPr>
            <a:r>
              <a:rPr lang="en-US" sz="1200" dirty="0" smtClean="0">
                <a:solidFill>
                  <a:srgbClr val="C0C0C0"/>
                </a:solidFill>
              </a:rPr>
              <a:t>This page intentionally left blank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7543800" y="6096000"/>
            <a:ext cx="1371600" cy="609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780" y="5495925"/>
            <a:ext cx="6479414" cy="136207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 cap="all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53648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411660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92576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" y="1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gray">
          <a:xfrm>
            <a:off x="314324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gray">
          <a:xfrm>
            <a:off x="314324" y="508600"/>
            <a:ext cx="29495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Last Modified 3/10/2015 10:41 AM Central Standard Time</a:t>
            </a: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gray">
          <a:xfrm>
            <a:off x="314324" y="668956"/>
            <a:ext cx="25006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Printed 3/5/2015 1:39 PM Central Standard Time</a:t>
            </a: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gray">
          <a:xfrm>
            <a:off x="314324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314324" y="1245305"/>
            <a:ext cx="8450633" cy="507831"/>
          </a:xfrm>
          <a:prstGeom prst="rect">
            <a:avLst/>
          </a:prstGeom>
        </p:spPr>
        <p:txBody>
          <a:bodyPr wrap="square"/>
          <a:lstStyle>
            <a:lvl1pPr>
              <a:defRPr sz="3200" b="0" baseline="0">
                <a:solidFill>
                  <a:srgbClr val="439639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14324" y="2154952"/>
            <a:ext cx="8450633" cy="246221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3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oc id"/>
          <p:cNvSpPr>
            <a:spLocks noChangeArrowheads="1"/>
          </p:cNvSpPr>
          <p:nvPr userDrawn="1"/>
        </p:nvSpPr>
        <p:spPr bwMode="gray">
          <a:xfrm>
            <a:off x="8932546" y="37255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362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304144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6252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3548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82155" y="2154297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0FA2109-EFD3-47E6-9270-4CACF600F3B0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8DA1656-56C8-45A2-8F90-52C436B7A3D2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719603" y="6566446"/>
            <a:ext cx="21300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E81BAA3-DB11-4EAA-8196-5C99E85EEB34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67089890-8C83-466F-8D2A-517DC51AFDA7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523A086-FE8C-40CC-853B-A276712EF5CE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6565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8262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0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2155" y="2154297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2244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1447800"/>
            <a:ext cx="7772400" cy="457200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6400" y="1905001"/>
            <a:ext cx="6400800" cy="3048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456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04815" y="5867400"/>
            <a:ext cx="5562600" cy="30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  <a:p>
            <a:pPr lvl="0"/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304800" y="6096000"/>
            <a:ext cx="3581400" cy="3048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MM.DD.YY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808020"/>
            <a:ext cx="1758536" cy="576072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762008" y="2362210"/>
            <a:ext cx="7715250" cy="2667000"/>
            <a:chOff x="762000" y="2362200"/>
            <a:chExt cx="7715250" cy="2667000"/>
          </a:xfrm>
        </p:grpSpPr>
        <p:sp>
          <p:nvSpPr>
            <p:cNvPr id="33" name="Rectangle 32"/>
            <p:cNvSpPr/>
            <p:nvPr/>
          </p:nvSpPr>
          <p:spPr>
            <a:xfrm>
              <a:off x="5810250" y="2362200"/>
              <a:ext cx="2667000" cy="2667000"/>
            </a:xfrm>
            <a:prstGeom prst="rect">
              <a:avLst/>
            </a:prstGeom>
            <a:solidFill>
              <a:srgbClr val="7BC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947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5" name="Group 4"/>
            <p:cNvGrpSpPr/>
            <p:nvPr userDrawn="1"/>
          </p:nvGrpSpPr>
          <p:grpSpPr>
            <a:xfrm>
              <a:off x="5886713" y="2435455"/>
              <a:ext cx="2514074" cy="2520491"/>
              <a:chOff x="5888107" y="2432486"/>
              <a:chExt cx="2514074" cy="2520491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5888107" y="2432486"/>
                <a:ext cx="2514074" cy="251751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947"/>
                <a:endParaRPr 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36" name="Picture 159" descr="http://pixabay.com/get/f2b10324aec53beeb589/1425267585/incandescent-72139_1280.jpg?direct"/>
              <p:cNvPicPr>
                <a:picLocks noChangeArrowheads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5810" r="16751"/>
              <a:stretch/>
            </p:blipFill>
            <p:spPr bwMode="auto">
              <a:xfrm>
                <a:off x="5888107" y="3700380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7" name="Picture 95"/>
              <p:cNvPicPr>
                <a:picLocks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3970" t="11855" r="7227" b="21512"/>
              <a:stretch/>
            </p:blipFill>
            <p:spPr bwMode="auto">
              <a:xfrm>
                <a:off x="5888107" y="2432487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8" name="Picture 45" descr="http://dtydzegapv70r.cloudfront.net/wp-content/uploads/2015/01/outback.jpg?4f98b3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137" r="17137" b="1065"/>
              <a:stretch/>
            </p:blipFill>
            <p:spPr bwMode="auto">
              <a:xfrm>
                <a:off x="7155272" y="3702929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9" name="Picture 98" descr="http://www.teslamotors.com/sites/default/files/images/homepage/home_hero_sky.jpg?201502"/>
              <p:cNvPicPr>
                <a:picLocks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8424" t="28339" r="20728" b="12929"/>
              <a:stretch/>
            </p:blipFill>
            <p:spPr bwMode="auto">
              <a:xfrm>
                <a:off x="7155272" y="2432486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</p:grpSp>
        <p:sp>
          <p:nvSpPr>
            <p:cNvPr id="20" name="Rectangle 19"/>
            <p:cNvSpPr/>
            <p:nvPr/>
          </p:nvSpPr>
          <p:spPr>
            <a:xfrm>
              <a:off x="762000" y="2362200"/>
              <a:ext cx="2667000" cy="2667000"/>
            </a:xfrm>
            <a:prstGeom prst="rect">
              <a:avLst/>
            </a:prstGeom>
            <a:solidFill>
              <a:srgbClr val="7BC1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2947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6" name="Picture 3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181"/>
            <a:stretch/>
          </p:blipFill>
          <p:spPr bwMode="auto">
            <a:xfrm>
              <a:off x="3609975" y="2604169"/>
              <a:ext cx="2028826" cy="1960918"/>
            </a:xfrm>
            <a:prstGeom prst="rect">
              <a:avLst/>
            </a:prstGeom>
            <a:ln w="57150">
              <a:solidFill>
                <a:srgbClr val="7BC143"/>
              </a:solidFill>
              <a:miter lim="800000"/>
            </a:ln>
            <a:effectLst/>
            <a:extLst/>
          </p:spPr>
        </p:pic>
        <p:grpSp>
          <p:nvGrpSpPr>
            <p:cNvPr id="6" name="Group 5"/>
            <p:cNvGrpSpPr/>
            <p:nvPr userDrawn="1"/>
          </p:nvGrpSpPr>
          <p:grpSpPr>
            <a:xfrm>
              <a:off x="832382" y="2437288"/>
              <a:ext cx="2526236" cy="2518658"/>
              <a:chOff x="837406" y="2431347"/>
              <a:chExt cx="2526236" cy="2518658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837406" y="2431347"/>
                <a:ext cx="2526236" cy="251865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2947"/>
                <a:endParaRPr lang="en-US">
                  <a:solidFill>
                    <a:prstClr val="white"/>
                  </a:solidFill>
                </a:endParaRPr>
              </a:p>
            </p:txBody>
          </p:sp>
          <p:pic>
            <p:nvPicPr>
              <p:cNvPr id="29" name="Picture 4"/>
              <p:cNvPicPr>
                <a:picLocks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2115"/>
              <a:stretch/>
            </p:blipFill>
            <p:spPr bwMode="auto">
              <a:xfrm>
                <a:off x="837406" y="3705055"/>
                <a:ext cx="1246909" cy="1244950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0" name="Picture 2"/>
              <p:cNvPicPr>
                <a:picLocks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7828" b="3803"/>
              <a:stretch/>
            </p:blipFill>
            <p:spPr bwMode="auto">
              <a:xfrm>
                <a:off x="837406" y="2431347"/>
                <a:ext cx="1246909" cy="1250048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1" name="Picture 2"/>
              <p:cNvPicPr>
                <a:picLocks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956" t="19162" r="2961" b="18632"/>
              <a:stretch/>
            </p:blipFill>
            <p:spPr bwMode="auto">
              <a:xfrm>
                <a:off x="2106613" y="3705055"/>
                <a:ext cx="1257029" cy="1244950"/>
              </a:xfrm>
              <a:prstGeom prst="rect">
                <a:avLst/>
              </a:prstGeom>
              <a:ln>
                <a:noFill/>
              </a:ln>
              <a:effectLst/>
              <a:extLst/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82" t="11263" b="23530"/>
              <a:stretch/>
            </p:blipFill>
            <p:spPr>
              <a:xfrm>
                <a:off x="2106613" y="2431347"/>
                <a:ext cx="1257029" cy="1250048"/>
              </a:xfrm>
              <a:prstGeom prst="rect">
                <a:avLst/>
              </a:prstGeom>
              <a:ln>
                <a:noFill/>
              </a:ln>
              <a:effectLst/>
            </p:spPr>
          </p:pic>
          <p:pic>
            <p:nvPicPr>
              <p:cNvPr id="28" name="Picture 9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189" r="16189"/>
              <a:stretch/>
            </p:blipFill>
            <p:spPr bwMode="auto">
              <a:xfrm>
                <a:off x="1615906" y="3220165"/>
                <a:ext cx="950402" cy="947314"/>
              </a:xfrm>
              <a:prstGeom prst="rect">
                <a:avLst/>
              </a:prstGeom>
              <a:ln w="19050">
                <a:solidFill>
                  <a:schemeClr val="bg1"/>
                </a:solidFill>
              </a:ln>
              <a:effectLst/>
              <a:extLst/>
            </p:spPr>
          </p:pic>
        </p:grp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638800" y="3478350"/>
              <a:ext cx="406465" cy="406089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10800000">
              <a:off x="3200401" y="3478349"/>
              <a:ext cx="406465" cy="4060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8221987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38200" y="1447800"/>
            <a:ext cx="7772400" cy="457200"/>
          </a:xfrm>
        </p:spPr>
        <p:txBody>
          <a:bodyPr anchor="t">
            <a:normAutofit/>
          </a:bodyPr>
          <a:lstStyle>
            <a:lvl1pPr>
              <a:defRPr sz="2800" b="1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76400" y="1905001"/>
            <a:ext cx="6400800" cy="304800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accent2"/>
                </a:solidFill>
              </a:defRPr>
            </a:lvl1pPr>
            <a:lvl2pPr marL="456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2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88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1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04815" y="5867400"/>
            <a:ext cx="5562600" cy="3048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PRESENTER NAME</a:t>
            </a:r>
          </a:p>
          <a:p>
            <a:pPr lvl="0"/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1" hasCustomPrompt="1"/>
          </p:nvPr>
        </p:nvSpPr>
        <p:spPr>
          <a:xfrm>
            <a:off x="304800" y="6096000"/>
            <a:ext cx="3581400" cy="3048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MM.DD.YY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808020"/>
            <a:ext cx="1758536" cy="576072"/>
          </a:xfrm>
          <a:prstGeom prst="rect">
            <a:avLst/>
          </a:prstGeom>
        </p:spPr>
      </p:pic>
      <p:pic>
        <p:nvPicPr>
          <p:cNvPr id="231427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374611"/>
            <a:ext cx="7315200" cy="2883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3194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1251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7848600" cy="579439"/>
          </a:xfrm>
        </p:spPr>
        <p:txBody>
          <a:bodyPr anchor="t">
            <a:normAutofit/>
          </a:bodyPr>
          <a:lstStyle>
            <a:lvl1pPr algn="l">
              <a:defRPr sz="20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14400" y="6400801"/>
            <a:ext cx="457200" cy="47924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" y="6400800"/>
            <a:ext cx="457200" cy="457200"/>
          </a:xfr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/>
          </p:nvPr>
        </p:nvSpPr>
        <p:spPr>
          <a:xfrm>
            <a:off x="457200" y="1371600"/>
            <a:ext cx="7772400" cy="4572000"/>
          </a:xfrm>
        </p:spPr>
        <p:txBody>
          <a:bodyPr>
            <a:normAutofit/>
          </a:bodyPr>
          <a:lstStyle>
            <a:lvl1pPr marL="342355" indent="-342355">
              <a:spcAft>
                <a:spcPts val="1200"/>
              </a:spcAft>
              <a:buClr>
                <a:schemeClr val="accent1"/>
              </a:buClr>
              <a:buFont typeface="Arial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741769" indent="-285297">
              <a:spcAft>
                <a:spcPts val="120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600">
                <a:solidFill>
                  <a:srgbClr val="000000"/>
                </a:solidFill>
              </a:defRPr>
            </a:lvl2pPr>
            <a:lvl3pPr marL="1141184" indent="-228233">
              <a:spcAft>
                <a:spcPts val="1200"/>
              </a:spcAft>
              <a:buFont typeface="Arial" pitchFamily="34" charset="0"/>
              <a:buChar char="•"/>
              <a:defRPr sz="1600">
                <a:solidFill>
                  <a:srgbClr val="000000"/>
                </a:solidFill>
              </a:defRPr>
            </a:lvl3pPr>
            <a:lvl4pPr marL="1597658" indent="-228233">
              <a:spcAft>
                <a:spcPts val="1200"/>
              </a:spcAft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 marL="2054133" indent="-228233">
              <a:spcAft>
                <a:spcPts val="1200"/>
              </a:spcAft>
              <a:buFont typeface="Arial" pitchFamily="34" charset="0"/>
              <a:buChar char="•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416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18288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6697182"/>
            <a:ext cx="9144000" cy="1828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38201"/>
            <a:ext cx="7848600" cy="579439"/>
          </a:xfrm>
        </p:spPr>
        <p:txBody>
          <a:bodyPr anchor="t">
            <a:normAutofit/>
          </a:bodyPr>
          <a:lstStyle>
            <a:lvl1pPr algn="l"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914400" y="6400801"/>
            <a:ext cx="457200" cy="47924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6" tIns="45648" rIns="91296" bIns="45648" rtlCol="0" anchor="ctr"/>
          <a:lstStyle/>
          <a:p>
            <a:pPr algn="ctr" defTabSz="912947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" y="6400800"/>
            <a:ext cx="457200" cy="457200"/>
          </a:xfrm>
        </p:spPr>
        <p:txBody>
          <a:bodyPr/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>
          <a:xfrm>
            <a:off x="838200" y="1447800"/>
            <a:ext cx="7848600" cy="4572000"/>
          </a:xfrm>
        </p:spPr>
        <p:txBody>
          <a:bodyPr>
            <a:normAutofit/>
          </a:bodyPr>
          <a:lstStyle>
            <a:lvl1pPr marL="0" indent="0">
              <a:spcAft>
                <a:spcPts val="1200"/>
              </a:spcAft>
              <a:buFont typeface="Arial" pitchFamily="34" charset="0"/>
              <a:buNone/>
              <a:defRPr sz="1600"/>
            </a:lvl1pPr>
            <a:lvl2pPr marL="456478" indent="0">
              <a:spcAft>
                <a:spcPts val="1200"/>
              </a:spcAft>
              <a:buFont typeface="Arial" pitchFamily="34" charset="0"/>
              <a:buNone/>
              <a:defRPr sz="1600"/>
            </a:lvl2pPr>
            <a:lvl3pPr marL="912947" indent="0">
              <a:spcAft>
                <a:spcPts val="1200"/>
              </a:spcAft>
              <a:buFont typeface="Arial" pitchFamily="34" charset="0"/>
              <a:buNone/>
              <a:defRPr sz="1600"/>
            </a:lvl3pPr>
            <a:lvl4pPr marL="1369422" indent="0">
              <a:spcAft>
                <a:spcPts val="1200"/>
              </a:spcAft>
              <a:buFont typeface="Arial" pitchFamily="34" charset="0"/>
              <a:buNone/>
              <a:defRPr sz="1600"/>
            </a:lvl4pPr>
            <a:lvl5pPr marL="1825894" indent="0">
              <a:spcAft>
                <a:spcPts val="1200"/>
              </a:spcAft>
              <a:buFont typeface="Arial" pitchFamily="34" charset="0"/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600" y="5808020"/>
            <a:ext cx="1758536" cy="57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631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3915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/>
        </p:nvSpPr>
        <p:spPr bwMode="auto">
          <a:xfrm>
            <a:off x="100009" y="6372225"/>
            <a:ext cx="481014" cy="233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30" tIns="45716" rIns="91430" bIns="45716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7E241D3F-BF8C-F649-A940-FE4235426C5E}" type="slidenum">
              <a:rPr lang="en-US" sz="900" smtClean="0">
                <a:solidFill>
                  <a:srgbClr val="666666"/>
                </a:solidFill>
                <a:ea typeface="Arial" charset="0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900" dirty="0">
              <a:solidFill>
                <a:prstClr val="black"/>
              </a:solidFill>
              <a:ea typeface="Arial" charset="0"/>
              <a:cs typeface="Arial" charset="0"/>
            </a:endParaRPr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 bwMode="auto">
          <a:xfrm>
            <a:off x="457200" y="1600200"/>
            <a:ext cx="8229600" cy="134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14363" y="6372225"/>
            <a:ext cx="6678612" cy="233638"/>
          </a:xfrm>
          <a:prstGeom prst="rect">
            <a:avLst/>
          </a:prstGeom>
          <a:noFill/>
        </p:spPr>
        <p:txBody>
          <a:bodyPr lIns="91430" tIns="45716" rIns="91430" bIns="45716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>
                <a:solidFill>
                  <a:srgbClr val="666666"/>
                </a:solidFill>
                <a:ea typeface="Arial" charset="0"/>
                <a:cs typeface="Arial" charset="0"/>
              </a:rPr>
              <a:t> </a:t>
            </a:r>
            <a:r>
              <a:rPr lang="en-US" sz="900" dirty="0" smtClean="0">
                <a:solidFill>
                  <a:srgbClr val="666666"/>
                </a:solidFill>
                <a:ea typeface="Arial" charset="0"/>
                <a:cs typeface="Arial" charset="0"/>
              </a:rPr>
              <a:t>2013 BUDGET</a:t>
            </a:r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490649"/>
            <a:ext cx="8229600" cy="422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 sz="21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4303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740548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9" name="Picture 15" descr="C:\Users\Krithika R\Desktop\Picture1.png"/>
          <p:cNvPicPr>
            <a:picLocks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2"/>
            <a:ext cx="914076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314325" y="4533896"/>
            <a:ext cx="5036084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gray">
          <a:xfrm>
            <a:off x="28969" y="2967935"/>
            <a:ext cx="4924032" cy="492443"/>
          </a:xfrm>
          <a:prstGeom prst="rect">
            <a:avLst/>
          </a:prstGeom>
        </p:spPr>
        <p:txBody>
          <a:bodyPr wrap="square"/>
          <a:lstStyle>
            <a:lvl1pPr>
              <a:tabLst/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gray">
          <a:xfrm>
            <a:off x="228600" y="4244578"/>
            <a:ext cx="8450633" cy="251222"/>
          </a:xfrm>
        </p:spPr>
        <p:txBody>
          <a:bodyPr wrap="square">
            <a:spAutoFit/>
          </a:bodyPr>
          <a:lstStyle>
            <a:lvl1pPr>
              <a:defRPr sz="16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0" name="Picture 1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39" t="29819" r="19196" b="38680"/>
          <a:stretch/>
        </p:blipFill>
        <p:spPr bwMode="gray">
          <a:xfrm>
            <a:off x="6233514" y="5962123"/>
            <a:ext cx="2531444" cy="381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 descr="http://t1.gstatic.com/images?q=tbn:ANd9GcQCuBfarPhH5GDlFOoLhBJ9BrWfTtsIqRXoY6LdgGrJzxh5PXlX"/>
          <p:cNvPicPr>
            <a:picLocks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14324" y="5816932"/>
            <a:ext cx="1688394" cy="671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648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45075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tags" Target="../tags/tag22.xml"/><Relationship Id="rId1" Type="http://schemas.openxmlformats.org/officeDocument/2006/relationships/slideLayout" Target="../slideLayouts/slideLayout3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45.xml"/><Relationship Id="rId7" Type="http://schemas.openxmlformats.org/officeDocument/2006/relationships/vmlDrawing" Target="../drawings/vmlDrawing3.v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26" Type="http://schemas.openxmlformats.org/officeDocument/2006/relationships/tags" Target="../tags/tag81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6.xml"/><Relationship Id="rId7" Type="http://schemas.openxmlformats.org/officeDocument/2006/relationships/vmlDrawing" Target="../drawings/vmlDrawing5.v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1.xml"/><Relationship Id="rId20" Type="http://schemas.openxmlformats.org/officeDocument/2006/relationships/tags" Target="../tags/tag75.xml"/><Relationship Id="rId29" Type="http://schemas.openxmlformats.org/officeDocument/2006/relationships/tags" Target="../tags/tag8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4.xml"/><Relationship Id="rId11" Type="http://schemas.openxmlformats.org/officeDocument/2006/relationships/tags" Target="../tags/tag66.xml"/><Relationship Id="rId24" Type="http://schemas.openxmlformats.org/officeDocument/2006/relationships/tags" Target="../tags/tag79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10" Type="http://schemas.openxmlformats.org/officeDocument/2006/relationships/tags" Target="../tags/tag65.xml"/><Relationship Id="rId19" Type="http://schemas.openxmlformats.org/officeDocument/2006/relationships/tags" Target="../tags/tag74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6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26" Type="http://schemas.openxmlformats.org/officeDocument/2006/relationships/tags" Target="../tags/tag112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07.xml"/><Relationship Id="rId7" Type="http://schemas.openxmlformats.org/officeDocument/2006/relationships/vmlDrawing" Target="../drawings/vmlDrawing7.v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5" Type="http://schemas.openxmlformats.org/officeDocument/2006/relationships/tags" Target="../tags/tag111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02.xml"/><Relationship Id="rId20" Type="http://schemas.openxmlformats.org/officeDocument/2006/relationships/tags" Target="../tags/tag106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5.xml"/><Relationship Id="rId11" Type="http://schemas.openxmlformats.org/officeDocument/2006/relationships/tags" Target="../tags/tag97.xml"/><Relationship Id="rId24" Type="http://schemas.openxmlformats.org/officeDocument/2006/relationships/tags" Target="../tags/tag110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01.xml"/><Relationship Id="rId23" Type="http://schemas.openxmlformats.org/officeDocument/2006/relationships/tags" Target="../tags/tag109.xml"/><Relationship Id="rId28" Type="http://schemas.openxmlformats.org/officeDocument/2006/relationships/tags" Target="../tags/tag114.xml"/><Relationship Id="rId10" Type="http://schemas.openxmlformats.org/officeDocument/2006/relationships/tags" Target="../tags/tag96.xml"/><Relationship Id="rId19" Type="http://schemas.openxmlformats.org/officeDocument/2006/relationships/tags" Target="../tags/tag105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tags" Target="../tags/tag108.xml"/><Relationship Id="rId27" Type="http://schemas.openxmlformats.org/officeDocument/2006/relationships/tags" Target="../tags/tag113.xml"/><Relationship Id="rId30" Type="http://schemas.openxmlformats.org/officeDocument/2006/relationships/tags" Target="../tags/tag11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38.xml"/><Relationship Id="rId7" Type="http://schemas.openxmlformats.org/officeDocument/2006/relationships/vmlDrawing" Target="../drawings/vmlDrawing9.v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33.xml"/><Relationship Id="rId20" Type="http://schemas.openxmlformats.org/officeDocument/2006/relationships/tags" Target="../tags/tag137.xml"/><Relationship Id="rId29" Type="http://schemas.openxmlformats.org/officeDocument/2006/relationships/tags" Target="../tags/tag146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6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oleObject" Target="../embeddings/oleObject9.bin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8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158.xml"/><Relationship Id="rId18" Type="http://schemas.openxmlformats.org/officeDocument/2006/relationships/tags" Target="../tags/tag163.xml"/><Relationship Id="rId26" Type="http://schemas.openxmlformats.org/officeDocument/2006/relationships/tags" Target="../tags/tag171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166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157.xml"/><Relationship Id="rId17" Type="http://schemas.openxmlformats.org/officeDocument/2006/relationships/tags" Target="../tags/tag162.xml"/><Relationship Id="rId25" Type="http://schemas.openxmlformats.org/officeDocument/2006/relationships/tags" Target="../tags/tag170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161.xml"/><Relationship Id="rId20" Type="http://schemas.openxmlformats.org/officeDocument/2006/relationships/tags" Target="../tags/tag165.xml"/><Relationship Id="rId29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ags" Target="../tags/tag156.xml"/><Relationship Id="rId24" Type="http://schemas.openxmlformats.org/officeDocument/2006/relationships/tags" Target="../tags/tag169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160.xml"/><Relationship Id="rId23" Type="http://schemas.openxmlformats.org/officeDocument/2006/relationships/tags" Target="../tags/tag168.xml"/><Relationship Id="rId28" Type="http://schemas.openxmlformats.org/officeDocument/2006/relationships/image" Target="../media/image3.emf"/><Relationship Id="rId10" Type="http://schemas.openxmlformats.org/officeDocument/2006/relationships/vmlDrawing" Target="../drawings/vmlDrawing11.vml"/><Relationship Id="rId19" Type="http://schemas.openxmlformats.org/officeDocument/2006/relationships/tags" Target="../tags/tag164.xml"/><Relationship Id="rId31" Type="http://schemas.openxmlformats.org/officeDocument/2006/relationships/image" Target="../media/image7.jpeg"/><Relationship Id="rId4" Type="http://schemas.openxmlformats.org/officeDocument/2006/relationships/slideLayout" Target="../slideLayouts/slideLayout43.xml"/><Relationship Id="rId9" Type="http://schemas.openxmlformats.org/officeDocument/2006/relationships/theme" Target="../theme/theme8.xml"/><Relationship Id="rId14" Type="http://schemas.openxmlformats.org/officeDocument/2006/relationships/tags" Target="../tags/tag159.xml"/><Relationship Id="rId22" Type="http://schemas.openxmlformats.org/officeDocument/2006/relationships/tags" Target="../tags/tag167.xml"/><Relationship Id="rId27" Type="http://schemas.openxmlformats.org/officeDocument/2006/relationships/oleObject" Target="../embeddings/oleObject11.bin"/><Relationship Id="rId30" Type="http://schemas.openxmlformats.org/officeDocument/2006/relationships/image" Target="../media/image15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0FDE02-4C0E-466A-92F6-474EFD4233CE}" type="slidenum">
              <a:rPr lang="en-US" smtClean="0">
                <a:solidFill>
                  <a:srgbClr val="555555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5555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743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75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0342676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89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310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375650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29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983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651441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47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26814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3630046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35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9801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6129114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81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gray">
          <a:xfrm>
            <a:off x="1482156" y="215429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21490" y="561866"/>
            <a:ext cx="532681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gray">
          <a:xfrm>
            <a:off x="121490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1482156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8772317" y="6574705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74700" cy="1001714"/>
            <a:chOff x="4936" y="176"/>
            <a:chExt cx="488" cy="631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7"/>
            <a:ext cx="1082675" cy="735013"/>
            <a:chOff x="4750" y="176"/>
            <a:chExt cx="682" cy="463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28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43984" y="616736"/>
            <a:ext cx="1088630" cy="216680"/>
            <a:chOff x="7652146" y="285750"/>
            <a:chExt cx="1088629" cy="21668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52146" y="285750"/>
              <a:ext cx="1088629" cy="2166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09" y="616736"/>
            <a:ext cx="840815" cy="1306516"/>
            <a:chOff x="6655594" y="273840"/>
            <a:chExt cx="840815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20140" cy="1884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68793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TEMPx2.jp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25"/>
          <p:cNvSpPr txBox="1">
            <a:spLocks noChangeArrowheads="1"/>
          </p:cNvSpPr>
          <p:nvPr/>
        </p:nvSpPr>
        <p:spPr bwMode="auto">
          <a:xfrm>
            <a:off x="8210550" y="6399213"/>
            <a:ext cx="4048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fld id="{F779C3F3-72E7-574A-BD26-00D2A8240879}" type="slidenum">
              <a:rPr lang="en-US" sz="1000">
                <a:solidFill>
                  <a:srgbClr val="666666"/>
                </a:solidFill>
                <a:ea typeface="Arial" charset="0"/>
                <a:cs typeface="Arial" charset="0"/>
              </a:rPr>
              <a:pPr algn="ctr">
                <a:defRPr/>
              </a:pPr>
              <a:t>‹#›</a:t>
            </a:fld>
            <a:endParaRPr lang="en-US" sz="1000" dirty="0">
              <a:solidFill>
                <a:srgbClr val="666666"/>
              </a:solidFill>
              <a:ea typeface="Arial" charset="0"/>
              <a:cs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1290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384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pic>
        <p:nvPicPr>
          <p:cNvPr id="6" name="Picture 9" descr="TEMPx5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283059" y="6372225"/>
            <a:ext cx="517048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cs typeface="Arial" charset="0"/>
              </a:rPr>
              <a:t>7-</a:t>
            </a:r>
            <a:fld id="{E59C0273-E571-47DF-A7B2-4555B0CBEA4A}" type="slidenum">
              <a:rPr lang="en-US" sz="900" smtClean="0">
                <a:solidFill>
                  <a:prstClr val="black">
                    <a:lumMod val="50000"/>
                    <a:lumOff val="50000"/>
                  </a:prstClr>
                </a:solidFill>
                <a:cs typeface="Arial" charset="0"/>
              </a:rPr>
              <a:pPr eaLnBrk="1" hangingPunct="1">
                <a:defRPr/>
              </a:pPr>
              <a:t>‹#›</a:t>
            </a:fld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  <a:cs typeface="Arial" charset="0"/>
              </a:rPr>
              <a:t>       </a:t>
            </a:r>
            <a:r>
              <a:rPr lang="en-US" sz="900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SUMMARY OF PRICEWATERHOUSECOOPERS’ 2012 AUDIT PLAN</a:t>
            </a:r>
            <a:endParaRPr lang="en-US" sz="900" dirty="0" smtClean="0">
              <a:solidFill>
                <a:prstClr val="black">
                  <a:lumMod val="50000"/>
                  <a:lumOff val="50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8152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  <p:sldLayoutId id="214748392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b="1" kern="1200" cap="all">
          <a:solidFill>
            <a:schemeClr val="bg1"/>
          </a:solidFill>
          <a:latin typeface="Arial"/>
          <a:ea typeface="ＭＳ Ｐゴシック" charset="-128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ea typeface="ＭＳ Ｐゴシック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666666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•"/>
        <a:defRPr sz="2000" kern="1200">
          <a:solidFill>
            <a:schemeClr val="tx1"/>
          </a:solidFill>
          <a:latin typeface="Arial"/>
          <a:ea typeface="ＭＳ Ｐゴシック" charset="-128"/>
          <a:cs typeface="Arial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–"/>
        <a:defRPr kern="1200">
          <a:solidFill>
            <a:schemeClr val="tx1"/>
          </a:solidFill>
          <a:latin typeface="Arial"/>
          <a:ea typeface="ＭＳ Ｐゴシック" charset="-128"/>
          <a:cs typeface="Arial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ＭＳ Ｐゴシック" charset="-128"/>
          <a:cs typeface="Arial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–"/>
        <a:defRPr sz="1400" kern="1200">
          <a:solidFill>
            <a:schemeClr val="tx1"/>
          </a:solidFill>
          <a:latin typeface="Arial"/>
          <a:ea typeface="ＭＳ Ｐゴシック" charset="-128"/>
          <a:cs typeface="Arial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Clr>
          <a:srgbClr val="439639"/>
        </a:buClr>
        <a:buFont typeface="Arial" charset="0"/>
        <a:buChar char="•"/>
        <a:defRPr sz="1200" kern="1200">
          <a:solidFill>
            <a:schemeClr val="tx1"/>
          </a:solidFill>
          <a:latin typeface="Arial"/>
          <a:ea typeface="ＭＳ Ｐゴシック" charset="-128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9517298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7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1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6448425"/>
            <a:ext cx="9144000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9" t="14954" r="19046" b="46417"/>
          <a:stretch>
            <a:fillRect/>
          </a:stretch>
        </p:blipFill>
        <p:spPr bwMode="gray">
          <a:xfrm>
            <a:off x="7210425" y="6140450"/>
            <a:ext cx="1784350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 descr="http://t1.gstatic.com/images?q=tbn:ANd9GcQCuBfarPhH5GDlFOoLhBJ9BrWfTtsIqRXoY6LdgGrJzxh5PXlX"/>
          <p:cNvPicPr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030911" y="108673"/>
            <a:ext cx="901700" cy="444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gray">
          <a:xfrm>
            <a:off x="8932546" y="37255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085279" y="1980946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3/10/2015 10:41 AM Central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235960" y="4198926"/>
            <a:ext cx="16735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3/5/2015 1:39 PM Central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1482155" y="2154297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8498" y="236198"/>
            <a:ext cx="7792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21488" y="828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21489" y="561866"/>
            <a:ext cx="532681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gray">
          <a:xfrm>
            <a:off x="121489" y="6211838"/>
            <a:ext cx="700257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75" y="4054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FFFFFF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523967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gray">
          <a:xfrm>
            <a:off x="8775517" y="6576268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0" name="LegendBoxes" hidden="1"/>
          <p:cNvGrpSpPr>
            <a:grpSpLocks/>
          </p:cNvGrpSpPr>
          <p:nvPr/>
        </p:nvGrpSpPr>
        <p:grpSpPr bwMode="gray">
          <a:xfrm>
            <a:off x="8173786" y="604826"/>
            <a:ext cx="758825" cy="995363"/>
            <a:chOff x="4936" y="176"/>
            <a:chExt cx="478" cy="627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7865811" y="610386"/>
            <a:ext cx="1066800" cy="728663"/>
            <a:chOff x="4750" y="176"/>
            <a:chExt cx="672" cy="459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7873749" y="616736"/>
            <a:ext cx="1058862" cy="209550"/>
            <a:chOff x="7681913" y="285750"/>
            <a:chExt cx="1058862" cy="209550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681913" y="285750"/>
              <a:ext cx="1058862" cy="2095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681913" y="285750"/>
              <a:ext cx="0" cy="2095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681913" y="495300"/>
              <a:ext cx="10588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8107111" y="616736"/>
            <a:ext cx="825500" cy="1306516"/>
            <a:chOff x="6655594" y="273840"/>
            <a:chExt cx="825500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6976269" y="286540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6976269" y="561178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6976269" y="835817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6976269" y="1107280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6976269" y="1383505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439639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377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296" tIns="45648" rIns="91296" bIns="4564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17"/>
            <a:ext cx="8229600" cy="4525963"/>
          </a:xfrm>
          <a:prstGeom prst="rect">
            <a:avLst/>
          </a:prstGeom>
        </p:spPr>
        <p:txBody>
          <a:bodyPr vert="horz" lIns="91296" tIns="45648" rIns="91296" bIns="4564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296" tIns="45648" rIns="91296" bIns="4564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947"/>
            <a:endParaRPr lang="en-US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vert="horz" lIns="91296" tIns="45648" rIns="91296" bIns="4564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947"/>
            <a:endParaRPr lang="en-US">
              <a:solidFill>
                <a:srgbClr val="555555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296" tIns="45648" rIns="91296" bIns="4564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947"/>
            <a:fld id="{870FDE02-4C0E-466A-92F6-474EFD4233CE}" type="slidenum">
              <a:rPr lang="en-US" smtClean="0">
                <a:solidFill>
                  <a:srgbClr val="555555">
                    <a:tint val="75000"/>
                  </a:srgbClr>
                </a:solidFill>
              </a:rPr>
              <a:pPr defTabSz="912947"/>
              <a:t>‹#›</a:t>
            </a:fld>
            <a:endParaRPr lang="en-US">
              <a:solidFill>
                <a:srgbClr val="55555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03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</p:sldLayoutIdLst>
  <p:hf hdr="0" ftr="0" dt="0"/>
  <p:txStyles>
    <p:titleStyle>
      <a:lvl1pPr algn="ctr" defTabSz="91294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355" indent="-342355" algn="l" defTabSz="91294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769" indent="-285297" algn="l" defTabSz="91294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184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658" indent="-228233" algn="l" defTabSz="91294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133" indent="-228233" algn="l" defTabSz="91294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605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7079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552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025" indent="-228233" algn="l" defTabSz="91294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8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47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22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94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69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42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316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89" algn="l" defTabSz="9129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447800"/>
            <a:ext cx="7620000" cy="457200"/>
          </a:xfrm>
        </p:spPr>
        <p:txBody>
          <a:bodyPr anchor="ctr">
            <a:noAutofit/>
          </a:bodyPr>
          <a:lstStyle/>
          <a:p>
            <a:r>
              <a:rPr lang="en-US" dirty="0" smtClean="0"/>
              <a:t>Ameren Missouri – Residential Time of Day Pilot Rat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May 18, 2017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051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idential Time of Day – Pilot Ra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Approved in ER-2014-0258 on a pilot basis</a:t>
            </a:r>
          </a:p>
          <a:p>
            <a:r>
              <a:rPr lang="en-US" dirty="0" smtClean="0"/>
              <a:t>Replaced legacy residential TOU rate by:</a:t>
            </a:r>
          </a:p>
          <a:p>
            <a:pPr lvl="1"/>
            <a:r>
              <a:rPr lang="en-US" dirty="0" smtClean="0"/>
              <a:t>Shortening peak hour window</a:t>
            </a:r>
          </a:p>
          <a:p>
            <a:pPr lvl="1"/>
            <a:r>
              <a:rPr lang="en-US" dirty="0" smtClean="0"/>
              <a:t>Eliminating incremental metering charge</a:t>
            </a:r>
          </a:p>
          <a:p>
            <a:pPr lvl="1"/>
            <a:r>
              <a:rPr lang="en-US" dirty="0" smtClean="0"/>
              <a:t>Increasing peak/off-peak pricing differential</a:t>
            </a:r>
          </a:p>
          <a:p>
            <a:r>
              <a:rPr lang="en-US" dirty="0" smtClean="0"/>
              <a:t>Limited to first 5,000 enrollees</a:t>
            </a:r>
          </a:p>
          <a:p>
            <a:r>
              <a:rPr lang="en-US" dirty="0" smtClean="0"/>
              <a:t>Summer period only subject to time of use pricing</a:t>
            </a:r>
          </a:p>
          <a:p>
            <a:pPr lvl="1"/>
            <a:r>
              <a:rPr lang="en-US" dirty="0" smtClean="0"/>
              <a:t>Monday through Friday, 2 – 7 p.m. – PEAK HOURS</a:t>
            </a:r>
          </a:p>
          <a:p>
            <a:pPr lvl="1"/>
            <a:r>
              <a:rPr lang="en-US" dirty="0" smtClean="0"/>
              <a:t>All other hours – OFF-PEAK HOU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005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lection of peak period – top 5 system load day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9330" name="Picture 2"/>
          <p:cNvPicPr>
            <a:picLocks noGrp="1" noChangeAspect="1" noChangeArrowheads="1"/>
          </p:cNvPicPr>
          <p:nvPr>
            <p:ph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123475"/>
            <a:ext cx="7010400" cy="5094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863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ate Detai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 smtClean="0"/>
              <a:t>On-peak rate initially designed to collect estimated marginal cost of capacity ($/kW) and on peak-energy ($/kWh) over 430 summer peak hours</a:t>
            </a:r>
          </a:p>
          <a:p>
            <a:r>
              <a:rPr lang="en-US" dirty="0" smtClean="0"/>
              <a:t>Off-peak rate set to make the total rate structure </a:t>
            </a:r>
            <a:r>
              <a:rPr lang="en-US" dirty="0" smtClean="0"/>
              <a:t>revenue </a:t>
            </a:r>
            <a:r>
              <a:rPr lang="en-US" dirty="0" smtClean="0"/>
              <a:t>neutral to the summer flat rate for the average residential customer, given the initial level of the on-peak rate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615660"/>
              </p:ext>
            </p:extLst>
          </p:nvPr>
        </p:nvGraphicFramePr>
        <p:xfrm>
          <a:off x="2514600" y="3483429"/>
          <a:ext cx="4343400" cy="2286000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2184861"/>
                <a:gridCol w="2158539"/>
              </a:tblGrid>
              <a:tr h="975554">
                <a:tc>
                  <a:txBody>
                    <a:bodyPr/>
                    <a:lstStyle/>
                    <a:p>
                      <a:pPr algn="l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>
                          <a:effectLst/>
                        </a:rPr>
                        <a:t>Currently Effective Rates (ER-2016-0179)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65522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</a:rPr>
                        <a:t>On-peak ($/kWh)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$0.315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  <a:tr h="65522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ff-peak ($/kWh)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$0.078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97257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000" dirty="0">
                <a:solidFill>
                  <a:srgbClr val="000000"/>
                </a:solidFill>
              </a:rPr>
              <a:t>ER-2016-0179 Settlemen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0977DB-C199-4239-9DBC-7EB61C6B3E59}" type="slidenum">
              <a:rPr lang="en-US" smtClean="0">
                <a:solidFill>
                  <a:srgbClr val="FFFFFF"/>
                </a:solidFill>
              </a:rPr>
              <a:pPr/>
              <a:t>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>
            <a:normAutofit lnSpcReduction="10000"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Ameren Missouri agreed to publicize the Time-of-Day pilot rate option on its website </a:t>
            </a:r>
          </a:p>
          <a:p>
            <a:pPr marL="742228" lvl="1" indent="-285750">
              <a:buFont typeface="Arial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Webpage went live April 21, 2017</a:t>
            </a:r>
          </a:p>
          <a:p>
            <a:pPr marL="742228" lvl="1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rgbClr val="000000"/>
                </a:solidFill>
              </a:rPr>
              <a:t>20 </a:t>
            </a:r>
            <a:r>
              <a:rPr lang="en-US" sz="1800" dirty="0">
                <a:solidFill>
                  <a:srgbClr val="000000"/>
                </a:solidFill>
              </a:rPr>
              <a:t>new customers enrolled  as of May </a:t>
            </a:r>
            <a:r>
              <a:rPr lang="en-US" sz="1800" dirty="0" smtClean="0">
                <a:solidFill>
                  <a:srgbClr val="000000"/>
                </a:solidFill>
              </a:rPr>
              <a:t>16</a:t>
            </a:r>
            <a:r>
              <a:rPr lang="en-US" sz="1800" dirty="0" smtClean="0">
                <a:solidFill>
                  <a:srgbClr val="000000"/>
                </a:solidFill>
              </a:rPr>
              <a:t>, </a:t>
            </a:r>
            <a:r>
              <a:rPr lang="en-US" sz="1800" dirty="0">
                <a:solidFill>
                  <a:srgbClr val="000000"/>
                </a:solidFill>
              </a:rPr>
              <a:t>2017 (incremental to </a:t>
            </a:r>
            <a:r>
              <a:rPr lang="en-US" sz="1800" dirty="0" smtClean="0">
                <a:solidFill>
                  <a:srgbClr val="000000"/>
                </a:solidFill>
              </a:rPr>
              <a:t>35 </a:t>
            </a:r>
            <a:r>
              <a:rPr lang="en-US" sz="1800" dirty="0">
                <a:solidFill>
                  <a:srgbClr val="000000"/>
                </a:solidFill>
              </a:rPr>
              <a:t>previous enrollees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File modifications to the time-of-day rate in its next regulatory rate review with the following goals:</a:t>
            </a:r>
          </a:p>
          <a:p>
            <a:pPr marL="742228" lvl="1" indent="-285750">
              <a:buFont typeface="Arial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Shift usage in all months of the year (currently summer only)</a:t>
            </a:r>
          </a:p>
          <a:p>
            <a:pPr marL="742228" lvl="1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rgbClr val="000000"/>
                </a:solidFill>
              </a:rPr>
              <a:t>Allow interested customers to opt-in</a:t>
            </a:r>
            <a:endParaRPr lang="en-US" sz="1800" dirty="0">
              <a:solidFill>
                <a:srgbClr val="000000"/>
              </a:solidFill>
            </a:endParaRPr>
          </a:p>
          <a:p>
            <a:pPr marL="742228" lvl="1" indent="-285750">
              <a:buFont typeface="Arial" pitchFamily="34" charset="0"/>
              <a:buChar char="•"/>
            </a:pPr>
            <a:r>
              <a:rPr lang="en-US" sz="1800" dirty="0" smtClean="0">
                <a:solidFill>
                  <a:srgbClr val="000000"/>
                </a:solidFill>
              </a:rPr>
              <a:t>Maintain compatibility </a:t>
            </a:r>
            <a:r>
              <a:rPr lang="en-US" sz="1800" dirty="0">
                <a:solidFill>
                  <a:srgbClr val="000000"/>
                </a:solidFill>
              </a:rPr>
              <a:t>with existing meter technology</a:t>
            </a:r>
          </a:p>
          <a:p>
            <a:pPr marL="742228" lvl="1" indent="-285750">
              <a:buFont typeface="Arial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Encourage off-peak vehicle charging</a:t>
            </a:r>
          </a:p>
          <a:p>
            <a:pPr marL="742228" lvl="1" indent="-285750">
              <a:buFont typeface="Arial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442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MJxhNoY0iqqadBRLzTe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1dtCBW0GiFsG1AGX0G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eeIYrgmUSnG42gBwixn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RWq4wPS0.Hdgbsv4Kka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9cNcyQGkexCbp2K1it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z5m8bE106wuEKWZXG17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4UeZ4g_EORkx_1lvD4P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C0KkqeUEOP.a1uqoZS4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LqBE7LKEO3RYuO1xAV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wNx5qiqUWwYtUscF9F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bJvvQjKEizMTq_pCX8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8SYa9a.kOJQr_aMzvz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XsV0ul7kKJVkn9if3x1w"/>
</p:tagLst>
</file>

<file path=ppt/theme/theme1.xml><?xml version="1.0" encoding="utf-8"?>
<a:theme xmlns:a="http://schemas.openxmlformats.org/drawingml/2006/main" name="1_Office Theme">
  <a:themeElements>
    <a:clrScheme name="Ameren Corporate">
      <a:dk1>
        <a:srgbClr val="555555"/>
      </a:dk1>
      <a:lt1>
        <a:sysClr val="window" lastClr="FFFFFF"/>
      </a:lt1>
      <a:dk2>
        <a:srgbClr val="555555"/>
      </a:dk2>
      <a:lt2>
        <a:srgbClr val="FFFFFF"/>
      </a:lt2>
      <a:accent1>
        <a:srgbClr val="439639"/>
      </a:accent1>
      <a:accent2>
        <a:srgbClr val="1B6CB5"/>
      </a:accent2>
      <a:accent3>
        <a:srgbClr val="7BC143"/>
      </a:accent3>
      <a:accent4>
        <a:srgbClr val="72CDF4"/>
      </a:accent4>
      <a:accent5>
        <a:srgbClr val="F48C24"/>
      </a:accent5>
      <a:accent6>
        <a:srgbClr val="EE3224"/>
      </a:accent6>
      <a:hlink>
        <a:srgbClr val="1B6CB5"/>
      </a:hlink>
      <a:folHlink>
        <a:srgbClr val="72CDF4"/>
      </a:folHlink>
    </a:clrScheme>
    <a:fontScheme name="Ameren Corpor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012 ARC Theme1">
  <a:themeElements>
    <a:clrScheme name="Custom 1">
      <a:dk1>
        <a:sysClr val="windowText" lastClr="000000"/>
      </a:dk1>
      <a:lt1>
        <a:sysClr val="window" lastClr="FFFFFF"/>
      </a:lt1>
      <a:dk2>
        <a:srgbClr val="555555"/>
      </a:dk2>
      <a:lt2>
        <a:srgbClr val="CCCCCC"/>
      </a:lt2>
      <a:accent1>
        <a:srgbClr val="439639"/>
      </a:accent1>
      <a:accent2>
        <a:srgbClr val="1B6CB5"/>
      </a:accent2>
      <a:accent3>
        <a:srgbClr val="72CDF4"/>
      </a:accent3>
      <a:accent4>
        <a:srgbClr val="7BC143"/>
      </a:accent4>
      <a:accent5>
        <a:srgbClr val="D98C24"/>
      </a:accent5>
      <a:accent6>
        <a:srgbClr val="EE3224"/>
      </a:accent6>
      <a:hlink>
        <a:srgbClr val="1B6CB5"/>
      </a:hlink>
      <a:folHlink>
        <a:srgbClr val="72CDF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Ameren_CF_QRE012">
  <a:themeElements>
    <a:clrScheme name="Current">
      <a:dk1>
        <a:srgbClr val="000000"/>
      </a:dk1>
      <a:lt1>
        <a:srgbClr val="FFFFFF"/>
      </a:lt1>
      <a:dk2>
        <a:srgbClr val="439639"/>
      </a:dk2>
      <a:lt2>
        <a:srgbClr val="CCCCCC"/>
      </a:lt2>
      <a:accent1>
        <a:srgbClr val="CCCCCC"/>
      </a:accent1>
      <a:accent2>
        <a:srgbClr val="979797"/>
      </a:accent2>
      <a:accent3>
        <a:srgbClr val="7BC143"/>
      </a:accent3>
      <a:accent4>
        <a:srgbClr val="439639"/>
      </a:accent4>
      <a:accent5>
        <a:srgbClr val="555555"/>
      </a:accent5>
      <a:accent6>
        <a:srgbClr val="808080"/>
      </a:accent6>
      <a:hlink>
        <a:srgbClr val="7BC11B"/>
      </a:hlink>
      <a:folHlink>
        <a:srgbClr val="439639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439639"/>
        </a:dk2>
        <a:lt2>
          <a:srgbClr val="CCCCCC"/>
        </a:lt2>
        <a:accent1>
          <a:srgbClr val="CCCCCC"/>
        </a:accent1>
        <a:accent2>
          <a:srgbClr val="979797"/>
        </a:accent2>
        <a:accent3>
          <a:srgbClr val="7BC143"/>
        </a:accent3>
        <a:accent4>
          <a:srgbClr val="439639"/>
        </a:accent4>
        <a:accent5>
          <a:srgbClr val="555555"/>
        </a:accent5>
        <a:accent6>
          <a:srgbClr val="808080"/>
        </a:accent6>
        <a:hlink>
          <a:srgbClr val="7BC11B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Office Theme">
  <a:themeElements>
    <a:clrScheme name="Ameren Corporate">
      <a:dk1>
        <a:srgbClr val="555555"/>
      </a:dk1>
      <a:lt1>
        <a:sysClr val="window" lastClr="FFFFFF"/>
      </a:lt1>
      <a:dk2>
        <a:srgbClr val="555555"/>
      </a:dk2>
      <a:lt2>
        <a:srgbClr val="FFFFFF"/>
      </a:lt2>
      <a:accent1>
        <a:srgbClr val="439639"/>
      </a:accent1>
      <a:accent2>
        <a:srgbClr val="1B6CB5"/>
      </a:accent2>
      <a:accent3>
        <a:srgbClr val="7BC143"/>
      </a:accent3>
      <a:accent4>
        <a:srgbClr val="72CDF4"/>
      </a:accent4>
      <a:accent5>
        <a:srgbClr val="F48C24"/>
      </a:accent5>
      <a:accent6>
        <a:srgbClr val="EE3224"/>
      </a:accent6>
      <a:hlink>
        <a:srgbClr val="1B6CB5"/>
      </a:hlink>
      <a:folHlink>
        <a:srgbClr val="72CDF4"/>
      </a:folHlink>
    </a:clrScheme>
    <a:fontScheme name="Ameren Corpor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649</TotalTime>
  <Pages>14</Pages>
  <Words>252</Words>
  <Characters>0</Characters>
  <Application>Microsoft Office PowerPoint</Application>
  <DocSecurity>0</DocSecurity>
  <PresentationFormat>On-screen Show (4:3)</PresentationFormat>
  <Lines>0</Lines>
  <Paragraphs>36</Paragraphs>
  <Slides>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1_Office Theme</vt:lpstr>
      <vt:lpstr>1_Ameren_CF_QRE012</vt:lpstr>
      <vt:lpstr>2_Ameren_CF_QRE012</vt:lpstr>
      <vt:lpstr>3_Ameren_CF_QRE012</vt:lpstr>
      <vt:lpstr>4_Ameren_CF_QRE012</vt:lpstr>
      <vt:lpstr>5_Ameren_CF_QRE012</vt:lpstr>
      <vt:lpstr>2012 ARC Theme1</vt:lpstr>
      <vt:lpstr>Ameren_CF_QRE012</vt:lpstr>
      <vt:lpstr>4_Office Theme</vt:lpstr>
      <vt:lpstr>think-cell Slide</vt:lpstr>
      <vt:lpstr>Ameren Missouri – Residential Time of Day Pilot Rate</vt:lpstr>
      <vt:lpstr>Residential Time of Day – Pilot Rate</vt:lpstr>
      <vt:lpstr>Selection of peak period – top 5 system load days</vt:lpstr>
      <vt:lpstr>Rate Detail</vt:lpstr>
      <vt:lpstr>ER-2016-0179 Settlement</vt:lpstr>
    </vt:vector>
  </TitlesOfParts>
  <LinksUpToDate>false</LinksUpToDate>
  <CharactersWithSpaces>0</CharactersWithSpaces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SV</dc:creator>
  <cp:lastModifiedBy>Wills, Steven M</cp:lastModifiedBy>
  <cp:revision>60</cp:revision>
  <dcterms:modified xsi:type="dcterms:W3CDTF">2017-05-17T14:39:42Z</dcterms:modified>
</cp:coreProperties>
</file>